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270" autoAdjust="0"/>
    <p:restoredTop sz="94660"/>
  </p:normalViewPr>
  <p:slideViewPr>
    <p:cSldViewPr snapToGrid="0">
      <p:cViewPr varScale="1">
        <p:scale>
          <a:sx n="87" d="100"/>
          <a:sy n="87" d="100"/>
        </p:scale>
        <p:origin x="926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41</c:f>
              <c:numCache>
                <c:formatCode>m/d/yyyy</c:formatCode>
                <c:ptCount val="24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</c:numCache>
            </c:numRef>
          </c:cat>
          <c:val>
            <c:numRef>
              <c:f>Sheet1!$D$2:$D$241</c:f>
              <c:numCache>
                <c:formatCode>#,##0</c:formatCode>
                <c:ptCount val="240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3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8</c:v>
                </c:pt>
                <c:pt idx="101">
                  <c:v>308</c:v>
                </c:pt>
                <c:pt idx="102">
                  <c:v>304</c:v>
                </c:pt>
                <c:pt idx="103">
                  <c:v>302</c:v>
                </c:pt>
                <c:pt idx="104">
                  <c:v>312</c:v>
                </c:pt>
                <c:pt idx="105">
                  <c:v>308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4</c:v>
                </c:pt>
                <c:pt idx="123">
                  <c:v>455</c:v>
                </c:pt>
                <c:pt idx="124">
                  <c:v>474</c:v>
                </c:pt>
                <c:pt idx="125">
                  <c:v>511</c:v>
                </c:pt>
                <c:pt idx="126">
                  <c:v>534</c:v>
                </c:pt>
                <c:pt idx="127">
                  <c:v>553</c:v>
                </c:pt>
                <c:pt idx="128">
                  <c:v>564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4</c:v>
                </c:pt>
                <c:pt idx="138">
                  <c:v>590</c:v>
                </c:pt>
                <c:pt idx="139">
                  <c:v>588</c:v>
                </c:pt>
                <c:pt idx="140">
                  <c:v>578</c:v>
                </c:pt>
                <c:pt idx="141">
                  <c:v>560</c:v>
                </c:pt>
                <c:pt idx="142">
                  <c:v>554</c:v>
                </c:pt>
                <c:pt idx="143">
                  <c:v>540</c:v>
                </c:pt>
                <c:pt idx="144">
                  <c:v>536</c:v>
                </c:pt>
                <c:pt idx="145">
                  <c:v>539</c:v>
                </c:pt>
                <c:pt idx="146">
                  <c:v>539</c:v>
                </c:pt>
                <c:pt idx="147">
                  <c:v>548</c:v>
                </c:pt>
                <c:pt idx="148">
                  <c:v>548</c:v>
                </c:pt>
                <c:pt idx="149">
                  <c:v>544</c:v>
                </c:pt>
                <c:pt idx="150">
                  <c:v>515</c:v>
                </c:pt>
                <c:pt idx="151">
                  <c:v>522</c:v>
                </c:pt>
                <c:pt idx="152">
                  <c:v>529</c:v>
                </c:pt>
                <c:pt idx="153">
                  <c:v>547</c:v>
                </c:pt>
                <c:pt idx="154">
                  <c:v>531</c:v>
                </c:pt>
                <c:pt idx="155">
                  <c:v>531</c:v>
                </c:pt>
                <c:pt idx="156">
                  <c:v>548</c:v>
                </c:pt>
                <c:pt idx="157">
                  <c:v>541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5</c:v>
                </c:pt>
                <c:pt idx="165">
                  <c:v>560</c:v>
                </c:pt>
                <c:pt idx="166">
                  <c:v>579</c:v>
                </c:pt>
                <c:pt idx="167">
                  <c:v>569</c:v>
                </c:pt>
                <c:pt idx="168">
                  <c:v>593</c:v>
                </c:pt>
                <c:pt idx="169">
                  <c:v>607</c:v>
                </c:pt>
                <c:pt idx="170">
                  <c:v>617</c:v>
                </c:pt>
                <c:pt idx="171">
                  <c:v>636</c:v>
                </c:pt>
                <c:pt idx="172">
                  <c:v>657</c:v>
                </c:pt>
                <c:pt idx="173">
                  <c:v>665</c:v>
                </c:pt>
                <c:pt idx="174">
                  <c:v>682</c:v>
                </c:pt>
                <c:pt idx="175">
                  <c:v>696</c:v>
                </c:pt>
                <c:pt idx="176">
                  <c:v>683</c:v>
                </c:pt>
                <c:pt idx="177">
                  <c:v>730</c:v>
                </c:pt>
                <c:pt idx="178">
                  <c:v>722</c:v>
                </c:pt>
                <c:pt idx="179">
                  <c:v>715</c:v>
                </c:pt>
                <c:pt idx="180">
                  <c:v>741</c:v>
                </c:pt>
                <c:pt idx="181">
                  <c:v>782</c:v>
                </c:pt>
                <c:pt idx="182">
                  <c:v>800</c:v>
                </c:pt>
                <c:pt idx="183">
                  <c:v>806</c:v>
                </c:pt>
                <c:pt idx="184">
                  <c:v>827</c:v>
                </c:pt>
                <c:pt idx="185">
                  <c:v>842</c:v>
                </c:pt>
                <c:pt idx="186">
                  <c:v>852</c:v>
                </c:pt>
                <c:pt idx="187">
                  <c:v>871</c:v>
                </c:pt>
                <c:pt idx="188">
                  <c:v>920</c:v>
                </c:pt>
                <c:pt idx="189">
                  <c:v>909</c:v>
                </c:pt>
                <c:pt idx="190">
                  <c:v>916</c:v>
                </c:pt>
                <c:pt idx="191">
                  <c:v>917</c:v>
                </c:pt>
                <c:pt idx="192">
                  <c:v>927</c:v>
                </c:pt>
                <c:pt idx="193">
                  <c:v>911</c:v>
                </c:pt>
                <c:pt idx="194">
                  <c:v>937</c:v>
                </c:pt>
                <c:pt idx="195">
                  <c:v>942</c:v>
                </c:pt>
                <c:pt idx="196">
                  <c:v>927</c:v>
                </c:pt>
                <c:pt idx="197">
                  <c:v>926</c:v>
                </c:pt>
                <c:pt idx="198">
                  <c:v>952</c:v>
                </c:pt>
                <c:pt idx="199">
                  <c:v>944</c:v>
                </c:pt>
                <c:pt idx="200">
                  <c:v>939</c:v>
                </c:pt>
                <c:pt idx="201">
                  <c:v>934</c:v>
                </c:pt>
                <c:pt idx="202">
                  <c:v>973</c:v>
                </c:pt>
                <c:pt idx="203">
                  <c:v>932</c:v>
                </c:pt>
                <c:pt idx="204">
                  <c:v>924</c:v>
                </c:pt>
                <c:pt idx="207">
                  <c:v>879</c:v>
                </c:pt>
                <c:pt idx="208">
                  <c:v>863</c:v>
                </c:pt>
                <c:pt idx="209">
                  <c:v>867</c:v>
                </c:pt>
                <c:pt idx="210">
                  <c:v>841</c:v>
                </c:pt>
                <c:pt idx="211">
                  <c:v>813</c:v>
                </c:pt>
                <c:pt idx="212">
                  <c:v>793</c:v>
                </c:pt>
                <c:pt idx="213">
                  <c:v>765</c:v>
                </c:pt>
                <c:pt idx="214">
                  <c:v>727</c:v>
                </c:pt>
                <c:pt idx="215">
                  <c:v>716</c:v>
                </c:pt>
                <c:pt idx="216">
                  <c:v>711</c:v>
                </c:pt>
                <c:pt idx="217">
                  <c:v>734</c:v>
                </c:pt>
                <c:pt idx="218">
                  <c:v>709</c:v>
                </c:pt>
                <c:pt idx="219">
                  <c:v>675</c:v>
                </c:pt>
                <c:pt idx="220">
                  <c:v>632</c:v>
                </c:pt>
                <c:pt idx="221">
                  <c:v>609</c:v>
                </c:pt>
                <c:pt idx="222">
                  <c:v>610</c:v>
                </c:pt>
                <c:pt idx="223">
                  <c:v>601</c:v>
                </c:pt>
                <c:pt idx="224">
                  <c:v>579</c:v>
                </c:pt>
                <c:pt idx="225">
                  <c:v>545</c:v>
                </c:pt>
                <c:pt idx="226">
                  <c:v>527</c:v>
                </c:pt>
                <c:pt idx="227">
                  <c:v>521</c:v>
                </c:pt>
                <c:pt idx="228">
                  <c:v>493</c:v>
                </c:pt>
                <c:pt idx="229">
                  <c:v>499</c:v>
                </c:pt>
                <c:pt idx="230">
                  <c:v>496</c:v>
                </c:pt>
                <c:pt idx="231">
                  <c:v>482</c:v>
                </c:pt>
                <c:pt idx="232">
                  <c:v>471</c:v>
                </c:pt>
                <c:pt idx="233">
                  <c:v>417</c:v>
                </c:pt>
                <c:pt idx="234">
                  <c:v>400</c:v>
                </c:pt>
                <c:pt idx="235">
                  <c:v>376</c:v>
                </c:pt>
                <c:pt idx="236">
                  <c:v>371</c:v>
                </c:pt>
                <c:pt idx="237">
                  <c:v>361</c:v>
                </c:pt>
                <c:pt idx="238">
                  <c:v>358</c:v>
                </c:pt>
                <c:pt idx="239">
                  <c:v>3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39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41</c:f>
              <c:numCache>
                <c:formatCode>m/d/yyyy</c:formatCode>
                <c:ptCount val="24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</c:numCache>
            </c:numRef>
          </c:cat>
          <c:val>
            <c:numRef>
              <c:f>Sheet1!$B$2:$B$241</c:f>
              <c:numCache>
                <c:formatCode>#,##0</c:formatCode>
                <c:ptCount val="240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>
                  <c:v>528</c:v>
                </c:pt>
                <c:pt idx="230">
                  <c:v>552</c:v>
                </c:pt>
                <c:pt idx="231">
                  <c:v>593</c:v>
                </c:pt>
                <c:pt idx="232">
                  <c:v>554</c:v>
                </c:pt>
                <c:pt idx="233">
                  <c:v>595</c:v>
                </c:pt>
                <c:pt idx="234">
                  <c:v>613</c:v>
                </c:pt>
                <c:pt idx="235">
                  <c:v>618</c:v>
                </c:pt>
                <c:pt idx="236">
                  <c:v>617</c:v>
                </c:pt>
                <c:pt idx="237">
                  <c:v>605</c:v>
                </c:pt>
                <c:pt idx="238">
                  <c:v>586</c:v>
                </c:pt>
                <c:pt idx="239">
                  <c:v>6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41</c:f>
              <c:numCache>
                <c:formatCode>m/d/yyyy</c:formatCode>
                <c:ptCount val="24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</c:numCache>
            </c:numRef>
          </c:cat>
          <c:val>
            <c:numRef>
              <c:f>Sheet1!$C$2:$C$241</c:f>
              <c:numCache>
                <c:formatCode>#,##0</c:formatCode>
                <c:ptCount val="24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41</c:f>
              <c:numCache>
                <c:formatCode>m/d/yyyy</c:formatCode>
                <c:ptCount val="24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</c:numCache>
            </c:numRef>
          </c:cat>
          <c:val>
            <c:numRef>
              <c:f>Sheet1!$D$2:$D$241</c:f>
              <c:numCache>
                <c:formatCode>#,##0</c:formatCode>
                <c:ptCount val="240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6</c:v>
                </c:pt>
                <c:pt idx="56">
                  <c:v>2972</c:v>
                </c:pt>
                <c:pt idx="57">
                  <c:v>3035</c:v>
                </c:pt>
                <c:pt idx="58">
                  <c:v>3251</c:v>
                </c:pt>
                <c:pt idx="59">
                  <c:v>3298</c:v>
                </c:pt>
                <c:pt idx="60">
                  <c:v>3360</c:v>
                </c:pt>
                <c:pt idx="61">
                  <c:v>3443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4</c:v>
                </c:pt>
                <c:pt idx="67">
                  <c:v>3350</c:v>
                </c:pt>
                <c:pt idx="68">
                  <c:v>3354</c:v>
                </c:pt>
                <c:pt idx="69">
                  <c:v>3291</c:v>
                </c:pt>
                <c:pt idx="70">
                  <c:v>3195</c:v>
                </c:pt>
                <c:pt idx="71">
                  <c:v>2967</c:v>
                </c:pt>
                <c:pt idx="72">
                  <c:v>2890</c:v>
                </c:pt>
                <c:pt idx="73">
                  <c:v>2750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4</c:v>
                </c:pt>
                <c:pt idx="82">
                  <c:v>2129</c:v>
                </c:pt>
                <c:pt idx="83">
                  <c:v>2158</c:v>
                </c:pt>
                <c:pt idx="84">
                  <c:v>2097</c:v>
                </c:pt>
                <c:pt idx="85">
                  <c:v>2023</c:v>
                </c:pt>
                <c:pt idx="86">
                  <c:v>1933</c:v>
                </c:pt>
                <c:pt idx="87">
                  <c:v>1809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6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0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2</c:v>
                </c:pt>
                <c:pt idx="127">
                  <c:v>3085</c:v>
                </c:pt>
                <c:pt idx="128">
                  <c:v>3078</c:v>
                </c:pt>
                <c:pt idx="129">
                  <c:v>2936</c:v>
                </c:pt>
                <c:pt idx="130">
                  <c:v>2967</c:v>
                </c:pt>
                <c:pt idx="131">
                  <c:v>2974</c:v>
                </c:pt>
                <c:pt idx="132">
                  <c:v>2978</c:v>
                </c:pt>
                <c:pt idx="133">
                  <c:v>3046</c:v>
                </c:pt>
                <c:pt idx="134">
                  <c:v>2967</c:v>
                </c:pt>
                <c:pt idx="135">
                  <c:v>2926</c:v>
                </c:pt>
                <c:pt idx="136">
                  <c:v>2874</c:v>
                </c:pt>
                <c:pt idx="137">
                  <c:v>2760</c:v>
                </c:pt>
                <c:pt idx="138">
                  <c:v>2746</c:v>
                </c:pt>
                <c:pt idx="139">
                  <c:v>2703</c:v>
                </c:pt>
                <c:pt idx="140">
                  <c:v>2641</c:v>
                </c:pt>
                <c:pt idx="141">
                  <c:v>2596</c:v>
                </c:pt>
                <c:pt idx="142">
                  <c:v>2589</c:v>
                </c:pt>
                <c:pt idx="143">
                  <c:v>2553</c:v>
                </c:pt>
                <c:pt idx="144">
                  <c:v>2520</c:v>
                </c:pt>
                <c:pt idx="145">
                  <c:v>2521</c:v>
                </c:pt>
                <c:pt idx="146">
                  <c:v>2544</c:v>
                </c:pt>
                <c:pt idx="147">
                  <c:v>2526</c:v>
                </c:pt>
                <c:pt idx="148">
                  <c:v>2418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7</c:v>
                </c:pt>
                <c:pt idx="158">
                  <c:v>2345</c:v>
                </c:pt>
                <c:pt idx="159">
                  <c:v>2409</c:v>
                </c:pt>
                <c:pt idx="160">
                  <c:v>2472</c:v>
                </c:pt>
                <c:pt idx="161">
                  <c:v>2489</c:v>
                </c:pt>
                <c:pt idx="162">
                  <c:v>2419</c:v>
                </c:pt>
                <c:pt idx="163">
                  <c:v>2453</c:v>
                </c:pt>
                <c:pt idx="164">
                  <c:v>2404</c:v>
                </c:pt>
                <c:pt idx="165">
                  <c:v>2470</c:v>
                </c:pt>
                <c:pt idx="166">
                  <c:v>2588</c:v>
                </c:pt>
                <c:pt idx="167">
                  <c:v>2620</c:v>
                </c:pt>
                <c:pt idx="168">
                  <c:v>2651</c:v>
                </c:pt>
                <c:pt idx="169">
                  <c:v>2716</c:v>
                </c:pt>
                <c:pt idx="170">
                  <c:v>2756</c:v>
                </c:pt>
                <c:pt idx="171">
                  <c:v>2677</c:v>
                </c:pt>
                <c:pt idx="172">
                  <c:v>2684</c:v>
                </c:pt>
                <c:pt idx="173">
                  <c:v>2806</c:v>
                </c:pt>
                <c:pt idx="174">
                  <c:v>3000</c:v>
                </c:pt>
                <c:pt idx="175">
                  <c:v>3019</c:v>
                </c:pt>
                <c:pt idx="176">
                  <c:v>3030</c:v>
                </c:pt>
                <c:pt idx="177">
                  <c:v>3041</c:v>
                </c:pt>
                <c:pt idx="178">
                  <c:v>3127</c:v>
                </c:pt>
                <c:pt idx="179">
                  <c:v>3233</c:v>
                </c:pt>
                <c:pt idx="180">
                  <c:v>3371</c:v>
                </c:pt>
                <c:pt idx="181">
                  <c:v>3575</c:v>
                </c:pt>
                <c:pt idx="182">
                  <c:v>3620</c:v>
                </c:pt>
                <c:pt idx="183">
                  <c:v>3597</c:v>
                </c:pt>
                <c:pt idx="184">
                  <c:v>3680</c:v>
                </c:pt>
                <c:pt idx="185">
                  <c:v>3707</c:v>
                </c:pt>
                <c:pt idx="186">
                  <c:v>3787</c:v>
                </c:pt>
                <c:pt idx="187">
                  <c:v>3875</c:v>
                </c:pt>
                <c:pt idx="188">
                  <c:v>3927</c:v>
                </c:pt>
                <c:pt idx="189">
                  <c:v>3943</c:v>
                </c:pt>
                <c:pt idx="190">
                  <c:v>3956</c:v>
                </c:pt>
                <c:pt idx="191">
                  <c:v>3926</c:v>
                </c:pt>
                <c:pt idx="192">
                  <c:v>3862</c:v>
                </c:pt>
                <c:pt idx="193">
                  <c:v>3973</c:v>
                </c:pt>
                <c:pt idx="194">
                  <c:v>4042</c:v>
                </c:pt>
                <c:pt idx="195">
                  <c:v>4188</c:v>
                </c:pt>
                <c:pt idx="196">
                  <c:v>4103</c:v>
                </c:pt>
                <c:pt idx="197">
                  <c:v>4025</c:v>
                </c:pt>
                <c:pt idx="198">
                  <c:v>3996</c:v>
                </c:pt>
                <c:pt idx="199">
                  <c:v>3793</c:v>
                </c:pt>
                <c:pt idx="200">
                  <c:v>3719</c:v>
                </c:pt>
                <c:pt idx="201">
                  <c:v>3796</c:v>
                </c:pt>
                <c:pt idx="202">
                  <c:v>3813</c:v>
                </c:pt>
                <c:pt idx="203">
                  <c:v>3683</c:v>
                </c:pt>
                <c:pt idx="204">
                  <c:v>3539</c:v>
                </c:pt>
                <c:pt idx="207">
                  <c:v>3353</c:v>
                </c:pt>
                <c:pt idx="208">
                  <c:v>3382</c:v>
                </c:pt>
                <c:pt idx="209">
                  <c:v>3353</c:v>
                </c:pt>
                <c:pt idx="210">
                  <c:v>3279</c:v>
                </c:pt>
                <c:pt idx="211">
                  <c:v>3144</c:v>
                </c:pt>
                <c:pt idx="212">
                  <c:v>2994</c:v>
                </c:pt>
                <c:pt idx="213">
                  <c:v>2811</c:v>
                </c:pt>
                <c:pt idx="214">
                  <c:v>2768</c:v>
                </c:pt>
                <c:pt idx="215">
                  <c:v>2828</c:v>
                </c:pt>
                <c:pt idx="216">
                  <c:v>2843</c:v>
                </c:pt>
                <c:pt idx="217">
                  <c:v>3043</c:v>
                </c:pt>
                <c:pt idx="218">
                  <c:v>2863</c:v>
                </c:pt>
                <c:pt idx="219">
                  <c:v>2687</c:v>
                </c:pt>
                <c:pt idx="220">
                  <c:v>2415</c:v>
                </c:pt>
                <c:pt idx="221">
                  <c:v>2320</c:v>
                </c:pt>
                <c:pt idx="222">
                  <c:v>2336</c:v>
                </c:pt>
                <c:pt idx="223">
                  <c:v>2330</c:v>
                </c:pt>
                <c:pt idx="224">
                  <c:v>2236</c:v>
                </c:pt>
                <c:pt idx="225">
                  <c:v>2107</c:v>
                </c:pt>
                <c:pt idx="226">
                  <c:v>1930</c:v>
                </c:pt>
                <c:pt idx="227">
                  <c:v>1784</c:v>
                </c:pt>
                <c:pt idx="228">
                  <c:v>1748</c:v>
                </c:pt>
                <c:pt idx="229">
                  <c:v>1756</c:v>
                </c:pt>
                <c:pt idx="230">
                  <c:v>1807</c:v>
                </c:pt>
                <c:pt idx="231">
                  <c:v>1702</c:v>
                </c:pt>
                <c:pt idx="232">
                  <c:v>1612</c:v>
                </c:pt>
                <c:pt idx="233">
                  <c:v>1526</c:v>
                </c:pt>
                <c:pt idx="234">
                  <c:v>1427</c:v>
                </c:pt>
                <c:pt idx="235">
                  <c:v>1361</c:v>
                </c:pt>
                <c:pt idx="236">
                  <c:v>1361</c:v>
                </c:pt>
                <c:pt idx="237">
                  <c:v>1304</c:v>
                </c:pt>
                <c:pt idx="238">
                  <c:v>1287</c:v>
                </c:pt>
                <c:pt idx="239">
                  <c:v>12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32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</c:ext>
              </c:extLst>
            </c:dLbl>
            <c:dLbl>
              <c:idx val="239"/>
              <c:layout>
                <c:manualLayout>
                  <c:x val="0"/>
                  <c:y val="-6.73585682220308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41</c:f>
              <c:numCache>
                <c:formatCode>m/d/yyyy</c:formatCode>
                <c:ptCount val="24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</c:numCache>
            </c:numRef>
          </c:cat>
          <c:val>
            <c:numRef>
              <c:f>Sheet1!$B$2:$B$241</c:f>
              <c:numCache>
                <c:formatCode>#,##0</c:formatCode>
                <c:ptCount val="240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  <c:pt idx="233">
                  <c:v>6341</c:v>
                </c:pt>
                <c:pt idx="234">
                  <c:v>6541</c:v>
                </c:pt>
                <c:pt idx="235">
                  <c:v>6698</c:v>
                </c:pt>
                <c:pt idx="236">
                  <c:v>6777</c:v>
                </c:pt>
                <c:pt idx="237">
                  <c:v>6693</c:v>
                </c:pt>
                <c:pt idx="238">
                  <c:v>6438</c:v>
                </c:pt>
                <c:pt idx="239">
                  <c:v>62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41</c:f>
              <c:numCache>
                <c:formatCode>m/d/yyyy</c:formatCode>
                <c:ptCount val="24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</c:numCache>
            </c:numRef>
          </c:cat>
          <c:val>
            <c:numRef>
              <c:f>Sheet1!$C$2:$C$241</c:f>
              <c:numCache>
                <c:formatCode>#,##0</c:formatCode>
                <c:ptCount val="24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41</c:f>
              <c:numCache>
                <c:formatCode>m/d/yyyy</c:formatCode>
                <c:ptCount val="24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</c:numCache>
            </c:numRef>
          </c:cat>
          <c:val>
            <c:numRef>
              <c:f>Sheet1!$D$2:$D$241</c:f>
              <c:numCache>
                <c:formatCode>#,##0</c:formatCode>
                <c:ptCount val="24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3</c:v>
                </c:pt>
                <c:pt idx="199">
                  <c:v>34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5</c:v>
                </c:pt>
                <c:pt idx="213">
                  <c:v>29</c:v>
                </c:pt>
                <c:pt idx="214">
                  <c:v>29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8</c:v>
                </c:pt>
                <c:pt idx="225">
                  <c:v>16</c:v>
                </c:pt>
                <c:pt idx="226">
                  <c:v>17</c:v>
                </c:pt>
                <c:pt idx="227">
                  <c:v>18</c:v>
                </c:pt>
                <c:pt idx="228">
                  <c:v>18</c:v>
                </c:pt>
                <c:pt idx="229">
                  <c:v>19</c:v>
                </c:pt>
                <c:pt idx="230">
                  <c:v>21</c:v>
                </c:pt>
                <c:pt idx="231">
                  <c:v>18</c:v>
                </c:pt>
                <c:pt idx="232">
                  <c:v>20</c:v>
                </c:pt>
                <c:pt idx="233">
                  <c:v>21</c:v>
                </c:pt>
                <c:pt idx="234">
                  <c:v>20</c:v>
                </c:pt>
                <c:pt idx="235">
                  <c:v>18</c:v>
                </c:pt>
                <c:pt idx="236">
                  <c:v>17</c:v>
                </c:pt>
                <c:pt idx="237">
                  <c:v>16</c:v>
                </c:pt>
                <c:pt idx="238">
                  <c:v>19</c:v>
                </c:pt>
                <c:pt idx="239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39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41</c:f>
              <c:numCache>
                <c:formatCode>m/d/yyyy</c:formatCode>
                <c:ptCount val="24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</c:numCache>
            </c:numRef>
          </c:cat>
          <c:val>
            <c:numRef>
              <c:f>Sheet1!$B$2:$B$241</c:f>
              <c:numCache>
                <c:formatCode>#,##0</c:formatCode>
                <c:ptCount val="240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>
                  <c:v>46</c:v>
                </c:pt>
                <c:pt idx="230">
                  <c:v>42</c:v>
                </c:pt>
                <c:pt idx="231">
                  <c:v>42</c:v>
                </c:pt>
                <c:pt idx="232">
                  <c:v>41</c:v>
                </c:pt>
                <c:pt idx="233">
                  <c:v>40</c:v>
                </c:pt>
                <c:pt idx="234">
                  <c:v>40</c:v>
                </c:pt>
                <c:pt idx="235">
                  <c:v>40</c:v>
                </c:pt>
                <c:pt idx="236">
                  <c:v>42</c:v>
                </c:pt>
                <c:pt idx="237">
                  <c:v>40</c:v>
                </c:pt>
                <c:pt idx="238">
                  <c:v>38</c:v>
                </c:pt>
                <c:pt idx="239">
                  <c:v>4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41</c:f>
              <c:numCache>
                <c:formatCode>m/d/yyyy</c:formatCode>
                <c:ptCount val="24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</c:numCache>
            </c:numRef>
          </c:cat>
          <c:val>
            <c:numRef>
              <c:f>Sheet1!$C$2:$C$241</c:f>
              <c:numCache>
                <c:formatCode>#,##0</c:formatCode>
                <c:ptCount val="24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01769606503E-2"/>
          <c:y val="3.4628599943211873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41</c:f>
              <c:numCache>
                <c:formatCode>m/d/yyyy</c:formatCode>
                <c:ptCount val="24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</c:numCache>
            </c:numRef>
          </c:cat>
          <c:val>
            <c:numRef>
              <c:f>Sheet1!$D$2:$D$241</c:f>
              <c:numCache>
                <c:formatCode>#,##0</c:formatCode>
                <c:ptCount val="240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5</c:v>
                </c:pt>
                <c:pt idx="68">
                  <c:v>1166</c:v>
                </c:pt>
                <c:pt idx="69">
                  <c:v>1181</c:v>
                </c:pt>
                <c:pt idx="70">
                  <c:v>1167</c:v>
                </c:pt>
                <c:pt idx="71">
                  <c:v>1108</c:v>
                </c:pt>
                <c:pt idx="72">
                  <c:v>1104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8</c:v>
                </c:pt>
                <c:pt idx="84">
                  <c:v>877</c:v>
                </c:pt>
                <c:pt idx="85">
                  <c:v>853</c:v>
                </c:pt>
                <c:pt idx="86">
                  <c:v>840</c:v>
                </c:pt>
                <c:pt idx="87">
                  <c:v>795</c:v>
                </c:pt>
                <c:pt idx="88">
                  <c:v>776</c:v>
                </c:pt>
                <c:pt idx="89">
                  <c:v>761</c:v>
                </c:pt>
                <c:pt idx="90">
                  <c:v>786</c:v>
                </c:pt>
                <c:pt idx="91">
                  <c:v>728</c:v>
                </c:pt>
                <c:pt idx="92">
                  <c:v>712</c:v>
                </c:pt>
                <c:pt idx="93">
                  <c:v>714</c:v>
                </c:pt>
                <c:pt idx="94">
                  <c:v>710</c:v>
                </c:pt>
                <c:pt idx="95">
                  <c:v>685</c:v>
                </c:pt>
                <c:pt idx="96">
                  <c:v>672</c:v>
                </c:pt>
                <c:pt idx="97">
                  <c:v>710</c:v>
                </c:pt>
                <c:pt idx="98">
                  <c:v>698</c:v>
                </c:pt>
                <c:pt idx="99">
                  <c:v>684</c:v>
                </c:pt>
                <c:pt idx="100">
                  <c:v>709</c:v>
                </c:pt>
                <c:pt idx="101">
                  <c:v>697</c:v>
                </c:pt>
                <c:pt idx="102">
                  <c:v>693</c:v>
                </c:pt>
                <c:pt idx="103">
                  <c:v>707</c:v>
                </c:pt>
                <c:pt idx="104">
                  <c:v>725</c:v>
                </c:pt>
                <c:pt idx="105">
                  <c:v>722</c:v>
                </c:pt>
                <c:pt idx="106">
                  <c:v>734</c:v>
                </c:pt>
                <c:pt idx="107">
                  <c:v>723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8</c:v>
                </c:pt>
                <c:pt idx="123">
                  <c:v>958</c:v>
                </c:pt>
                <c:pt idx="124">
                  <c:v>1004</c:v>
                </c:pt>
                <c:pt idx="125">
                  <c:v>1090</c:v>
                </c:pt>
                <c:pt idx="126">
                  <c:v>1111</c:v>
                </c:pt>
                <c:pt idx="127">
                  <c:v>1149</c:v>
                </c:pt>
                <c:pt idx="128">
                  <c:v>1148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69</c:v>
                </c:pt>
                <c:pt idx="135">
                  <c:v>1178</c:v>
                </c:pt>
                <c:pt idx="136">
                  <c:v>1168</c:v>
                </c:pt>
                <c:pt idx="137">
                  <c:v>1158</c:v>
                </c:pt>
                <c:pt idx="138">
                  <c:v>1129</c:v>
                </c:pt>
                <c:pt idx="139">
                  <c:v>1154</c:v>
                </c:pt>
                <c:pt idx="140">
                  <c:v>1135</c:v>
                </c:pt>
                <c:pt idx="141">
                  <c:v>1111</c:v>
                </c:pt>
                <c:pt idx="142">
                  <c:v>1105</c:v>
                </c:pt>
                <c:pt idx="143">
                  <c:v>1110</c:v>
                </c:pt>
                <c:pt idx="144">
                  <c:v>1091</c:v>
                </c:pt>
                <c:pt idx="145">
                  <c:v>1057</c:v>
                </c:pt>
                <c:pt idx="146">
                  <c:v>1079</c:v>
                </c:pt>
                <c:pt idx="147">
                  <c:v>1046</c:v>
                </c:pt>
                <c:pt idx="148">
                  <c:v>1037</c:v>
                </c:pt>
                <c:pt idx="149">
                  <c:v>1018</c:v>
                </c:pt>
                <c:pt idx="150">
                  <c:v>1018</c:v>
                </c:pt>
                <c:pt idx="151">
                  <c:v>1022</c:v>
                </c:pt>
                <c:pt idx="152">
                  <c:v>1040</c:v>
                </c:pt>
                <c:pt idx="153">
                  <c:v>1079</c:v>
                </c:pt>
                <c:pt idx="154">
                  <c:v>1090</c:v>
                </c:pt>
                <c:pt idx="155">
                  <c:v>1077</c:v>
                </c:pt>
                <c:pt idx="156">
                  <c:v>1103</c:v>
                </c:pt>
                <c:pt idx="157">
                  <c:v>1089</c:v>
                </c:pt>
                <c:pt idx="158">
                  <c:v>1072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1</c:v>
                </c:pt>
                <c:pt idx="165">
                  <c:v>1105</c:v>
                </c:pt>
                <c:pt idx="166">
                  <c:v>1146</c:v>
                </c:pt>
                <c:pt idx="167">
                  <c:v>1170</c:v>
                </c:pt>
                <c:pt idx="168">
                  <c:v>1213</c:v>
                </c:pt>
                <c:pt idx="169">
                  <c:v>1241</c:v>
                </c:pt>
                <c:pt idx="170">
                  <c:v>1266</c:v>
                </c:pt>
                <c:pt idx="171">
                  <c:v>1270</c:v>
                </c:pt>
                <c:pt idx="172">
                  <c:v>1269</c:v>
                </c:pt>
                <c:pt idx="173">
                  <c:v>1282</c:v>
                </c:pt>
                <c:pt idx="174">
                  <c:v>1362</c:v>
                </c:pt>
                <c:pt idx="175">
                  <c:v>1391</c:v>
                </c:pt>
                <c:pt idx="176">
                  <c:v>1410</c:v>
                </c:pt>
                <c:pt idx="177">
                  <c:v>1464</c:v>
                </c:pt>
                <c:pt idx="178">
                  <c:v>1439</c:v>
                </c:pt>
                <c:pt idx="179">
                  <c:v>1466</c:v>
                </c:pt>
                <c:pt idx="180">
                  <c:v>1503</c:v>
                </c:pt>
                <c:pt idx="181">
                  <c:v>1586</c:v>
                </c:pt>
                <c:pt idx="182">
                  <c:v>1598</c:v>
                </c:pt>
                <c:pt idx="183">
                  <c:v>1625</c:v>
                </c:pt>
                <c:pt idx="184">
                  <c:v>1651</c:v>
                </c:pt>
                <c:pt idx="185">
                  <c:v>1671</c:v>
                </c:pt>
                <c:pt idx="186">
                  <c:v>1675</c:v>
                </c:pt>
                <c:pt idx="187">
                  <c:v>1677</c:v>
                </c:pt>
                <c:pt idx="188">
                  <c:v>1773</c:v>
                </c:pt>
                <c:pt idx="189">
                  <c:v>1802</c:v>
                </c:pt>
                <c:pt idx="190">
                  <c:v>1831</c:v>
                </c:pt>
                <c:pt idx="191">
                  <c:v>1820</c:v>
                </c:pt>
                <c:pt idx="192">
                  <c:v>1832</c:v>
                </c:pt>
                <c:pt idx="193">
                  <c:v>1781</c:v>
                </c:pt>
                <c:pt idx="194">
                  <c:v>1828</c:v>
                </c:pt>
                <c:pt idx="195">
                  <c:v>1885</c:v>
                </c:pt>
                <c:pt idx="196">
                  <c:v>1892</c:v>
                </c:pt>
                <c:pt idx="197">
                  <c:v>1861</c:v>
                </c:pt>
                <c:pt idx="198">
                  <c:v>1859</c:v>
                </c:pt>
                <c:pt idx="199">
                  <c:v>1819</c:v>
                </c:pt>
                <c:pt idx="200">
                  <c:v>1780</c:v>
                </c:pt>
                <c:pt idx="201">
                  <c:v>1804</c:v>
                </c:pt>
                <c:pt idx="202">
                  <c:v>1824</c:v>
                </c:pt>
                <c:pt idx="203">
                  <c:v>1776</c:v>
                </c:pt>
                <c:pt idx="204">
                  <c:v>1745</c:v>
                </c:pt>
                <c:pt idx="207">
                  <c:v>1645</c:v>
                </c:pt>
                <c:pt idx="208">
                  <c:v>1655</c:v>
                </c:pt>
                <c:pt idx="209">
                  <c:v>1665</c:v>
                </c:pt>
                <c:pt idx="210">
                  <c:v>1615</c:v>
                </c:pt>
                <c:pt idx="211">
                  <c:v>1556</c:v>
                </c:pt>
                <c:pt idx="212">
                  <c:v>1510</c:v>
                </c:pt>
                <c:pt idx="213">
                  <c:v>1428</c:v>
                </c:pt>
                <c:pt idx="214">
                  <c:v>1402</c:v>
                </c:pt>
                <c:pt idx="215">
                  <c:v>1382</c:v>
                </c:pt>
                <c:pt idx="216">
                  <c:v>1348</c:v>
                </c:pt>
                <c:pt idx="217">
                  <c:v>1398</c:v>
                </c:pt>
                <c:pt idx="218">
                  <c:v>1365</c:v>
                </c:pt>
                <c:pt idx="219">
                  <c:v>1317</c:v>
                </c:pt>
                <c:pt idx="220">
                  <c:v>1239</c:v>
                </c:pt>
                <c:pt idx="221">
                  <c:v>1223</c:v>
                </c:pt>
                <c:pt idx="222">
                  <c:v>1206</c:v>
                </c:pt>
                <c:pt idx="223">
                  <c:v>1192</c:v>
                </c:pt>
                <c:pt idx="224">
                  <c:v>1164</c:v>
                </c:pt>
                <c:pt idx="225">
                  <c:v>1119</c:v>
                </c:pt>
                <c:pt idx="226">
                  <c:v>1041</c:v>
                </c:pt>
                <c:pt idx="227">
                  <c:v>1021</c:v>
                </c:pt>
                <c:pt idx="228">
                  <c:v>980</c:v>
                </c:pt>
                <c:pt idx="229">
                  <c:v>983</c:v>
                </c:pt>
                <c:pt idx="230">
                  <c:v>1000</c:v>
                </c:pt>
                <c:pt idx="231">
                  <c:v>950</c:v>
                </c:pt>
                <c:pt idx="232">
                  <c:v>917</c:v>
                </c:pt>
                <c:pt idx="233">
                  <c:v>837</c:v>
                </c:pt>
                <c:pt idx="234">
                  <c:v>792</c:v>
                </c:pt>
                <c:pt idx="235">
                  <c:v>757</c:v>
                </c:pt>
                <c:pt idx="236">
                  <c:v>768</c:v>
                </c:pt>
                <c:pt idx="237">
                  <c:v>746</c:v>
                </c:pt>
                <c:pt idx="238">
                  <c:v>725</c:v>
                </c:pt>
                <c:pt idx="239">
                  <c:v>6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83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</c:extLst>
            </c:dLbl>
            <c:dLbl>
              <c:idx val="204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</c:extLst>
            </c:dLbl>
            <c:dLbl>
              <c:idx val="239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41</c:f>
              <c:numCache>
                <c:formatCode>m/d/yyyy</c:formatCode>
                <c:ptCount val="24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</c:numCache>
            </c:numRef>
          </c:cat>
          <c:val>
            <c:numRef>
              <c:f>Sheet1!$B$2:$B$241</c:f>
              <c:numCache>
                <c:formatCode>#,##0</c:formatCode>
                <c:ptCount val="240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  <c:pt idx="233">
                  <c:v>1513</c:v>
                </c:pt>
                <c:pt idx="234">
                  <c:v>1550</c:v>
                </c:pt>
                <c:pt idx="235">
                  <c:v>1557</c:v>
                </c:pt>
                <c:pt idx="236">
                  <c:v>1515</c:v>
                </c:pt>
                <c:pt idx="237">
                  <c:v>1494</c:v>
                </c:pt>
                <c:pt idx="238">
                  <c:v>1523</c:v>
                </c:pt>
                <c:pt idx="239">
                  <c:v>15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41</c:f>
              <c:numCache>
                <c:formatCode>m/d/yyyy</c:formatCode>
                <c:ptCount val="24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</c:numCache>
            </c:numRef>
          </c:cat>
          <c:val>
            <c:numRef>
              <c:f>Sheet1!$C$2:$C$241</c:f>
              <c:numCache>
                <c:formatCode>#,##0</c:formatCode>
                <c:ptCount val="24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29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9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9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5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4.xml"/><Relationship Id="rId5" Type="http://schemas.openxmlformats.org/officeDocument/2006/relationships/tags" Target="../tags/tag7.xml"/><Relationship Id="rId10" Type="http://schemas.openxmlformats.org/officeDocument/2006/relationships/chart" Target="../charts/chart3.xml"/><Relationship Id="rId4" Type="http://schemas.openxmlformats.org/officeDocument/2006/relationships/tags" Target="../tags/tag6.xml"/><Relationship Id="rId9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r>
              <a:rPr lang="cs-CZ" sz="3600" b="1" i="1" dirty="0"/>
              <a:t>- aktualizace 29.04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/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90637421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91405798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797769773"/>
              </p:ext>
            </p:extLst>
          </p:nvPr>
        </p:nvGraphicFramePr>
        <p:xfrm>
          <a:off x="390497" y="4014235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560262693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083379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2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114128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8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494</TotalTime>
  <Words>1040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Klímová Lucie Bc.</cp:lastModifiedBy>
  <cp:revision>629</cp:revision>
  <dcterms:created xsi:type="dcterms:W3CDTF">2020-08-08T14:25:07Z</dcterms:created>
  <dcterms:modified xsi:type="dcterms:W3CDTF">2021-04-29T03:11:02Z</dcterms:modified>
</cp:coreProperties>
</file>